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8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E0-46E5-979F-73FEA693C9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1404655"/>
        <c:axId val="191433935"/>
      </c:barChart>
      <c:catAx>
        <c:axId val="191404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33935"/>
        <c:crosses val="autoZero"/>
        <c:auto val="1"/>
        <c:lblAlgn val="ctr"/>
        <c:lblOffset val="100"/>
        <c:noMultiLvlLbl val="0"/>
      </c:catAx>
      <c:valAx>
        <c:axId val="191433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04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A7F68C-F352-6BDD-4847-3E6254B8FD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B05FFF9-6086-B607-5C2F-C236F489B6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5FFF9-6086-B607-5C2F-C236F489B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9605303D-0230-F81B-4322-24BCCE800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/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A4517D4-0995-E704-9FB2-0B759684D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44012A68-BC57-D617-4D54-E79E45A63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FF99682-8CDD-7797-18D8-D079746A21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54C3886-7652-2E24-8B53-76B90F7569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2945098B-5572-6337-0FAC-13AE8A5179E2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71CB4025-9D7B-0741-2E76-2958533A5E0B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35783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5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/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66</cp:revision>
  <dcterms:created xsi:type="dcterms:W3CDTF">2025-07-09T10:57:17Z</dcterms:created>
  <dcterms:modified xsi:type="dcterms:W3CDTF">2025-10-22T10:09:47Z</dcterms:modified>
  <cp:category/>
</cp:coreProperties>
</file>